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0"/>
  </p:notesMasterIdLst>
  <p:handoutMasterIdLst>
    <p:handoutMasterId r:id="rId11"/>
  </p:handoutMasterIdLst>
  <p:sldIdLst>
    <p:sldId id="656" r:id="rId3"/>
    <p:sldId id="906" r:id="rId4"/>
    <p:sldId id="899" r:id="rId5"/>
    <p:sldId id="900" r:id="rId6"/>
    <p:sldId id="901" r:id="rId7"/>
    <p:sldId id="902" r:id="rId8"/>
    <p:sldId id="903" r:id="rId9"/>
  </p:sldIdLst>
  <p:sldSz cx="12192000" cy="6858000"/>
  <p:notesSz cx="6805613" cy="99441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16" autoAdjust="0"/>
    <p:restoredTop sz="96408" autoAdjust="0"/>
  </p:normalViewPr>
  <p:slideViewPr>
    <p:cSldViewPr snapToGrid="0">
      <p:cViewPr varScale="1">
        <p:scale>
          <a:sx n="115" d="100"/>
          <a:sy n="115" d="100"/>
        </p:scale>
        <p:origin x="402" y="108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2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24.06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1979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2717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49095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22495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64692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2151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785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1287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39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160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45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486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526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710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574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524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80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24.06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8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06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295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2.jpeg"/><Relationship Id="rId1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1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ИЮЛЯ 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91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703816" y="1605618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кружающий мир. Тесты. 4 класс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6729" y="5690258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latin typeface="+mn-lt"/>
              </a:rPr>
              <a:t>08-0314-01</a:t>
            </a:r>
            <a:endParaRPr lang="ru-RU" b="0" dirty="0" smtClean="0"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 smtClean="0">
                <a:latin typeface="+mn-lt"/>
              </a:rPr>
              <a:t>84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108</a:t>
            </a:r>
            <a:r>
              <a:rPr lang="en-US" b="0" dirty="0" smtClean="0"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1/16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, 96</a:t>
            </a: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стр., 4 краски, </a:t>
            </a:r>
            <a:r>
              <a:rPr kumimoji="0" lang="ru-RU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илл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710411" y="2843324"/>
            <a:ext cx="6276903" cy="256224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особие содержит тесты по всем темам курса «Окружающий мир» для 4 класса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Предназначено </a:t>
            </a:r>
            <a:r>
              <a:rPr lang="ru-RU" sz="1400" dirty="0" smtClean="0"/>
              <a:t>для экспресс-оценки знаний по предмету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Задания с разными типами ответов: в </a:t>
            </a:r>
            <a:r>
              <a:rPr lang="ru-RU" sz="1400" dirty="0"/>
              <a:t>заданиях под зелёным номером только один правильный </a:t>
            </a:r>
            <a:r>
              <a:rPr lang="ru-RU" sz="1400" dirty="0" smtClean="0"/>
              <a:t>ответ, в </a:t>
            </a:r>
            <a:r>
              <a:rPr lang="ru-RU" sz="1400" dirty="0"/>
              <a:t>заданиях под красным номером — два или более правильных ответа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Содержат ответы </a:t>
            </a:r>
            <a:r>
              <a:rPr lang="ru-RU" sz="1400" dirty="0"/>
              <a:t>на все </a:t>
            </a:r>
            <a:r>
              <a:rPr lang="ru-RU" sz="1400" dirty="0" smtClean="0"/>
              <a:t>тесты.</a:t>
            </a: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</a:t>
            </a:r>
            <a:r>
              <a:rPr lang="en-US" dirty="0"/>
              <a:t> </a:t>
            </a:r>
            <a:r>
              <a:rPr lang="ru-RU" dirty="0" smtClean="0"/>
              <a:t>Плешаков А.А. Окружающий мир (1-4) (Перспектива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703815" y="222447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лешаков А.А., Новицкая М.Ю., Назарова З.Д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540" y="1641629"/>
            <a:ext cx="2590818" cy="3420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8382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0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471501"/>
            <a:ext cx="10961903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 smtClean="0"/>
              <a:t>Диагностика познавательного развития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12" y="1436914"/>
            <a:ext cx="5875579" cy="463005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288612" y="5600016"/>
            <a:ext cx="4572000" cy="9339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endParaRPr lang="ru-RU" dirty="0">
              <a:latin typeface="+mn-lt"/>
              <a:sym typeface="Calibri"/>
            </a:endParaRPr>
          </a:p>
          <a:p>
            <a:r>
              <a:rPr lang="ru-RU" dirty="0">
                <a:latin typeface="+mn-lt"/>
                <a:sym typeface="Calibri"/>
              </a:rPr>
              <a:t>Код: </a:t>
            </a:r>
            <a:r>
              <a:rPr lang="en-US" b="0" dirty="0">
                <a:latin typeface="+mn-lt"/>
                <a:sym typeface="Calibri"/>
              </a:rPr>
              <a:t>40-1537</a:t>
            </a:r>
            <a:r>
              <a:rPr lang="ru-RU" b="0" dirty="0">
                <a:latin typeface="+mn-lt"/>
                <a:sym typeface="Calibri"/>
              </a:rPr>
              <a:t>-01</a:t>
            </a:r>
          </a:p>
          <a:p>
            <a:r>
              <a:rPr lang="ru-RU" dirty="0">
                <a:latin typeface="+mn-lt"/>
                <a:sym typeface="Calibri"/>
              </a:rPr>
              <a:t>Параметры: </a:t>
            </a:r>
            <a:r>
              <a:rPr lang="en-US" b="0" dirty="0">
                <a:latin typeface="+mn-lt"/>
                <a:sym typeface="Calibri"/>
              </a:rPr>
              <a:t>60</a:t>
            </a:r>
            <a:r>
              <a:rPr lang="ru-RU" b="0" dirty="0">
                <a:latin typeface="+mn-lt"/>
                <a:sym typeface="Wingdings 2"/>
              </a:rPr>
              <a:t></a:t>
            </a:r>
            <a:r>
              <a:rPr lang="en-US" b="0" dirty="0">
                <a:latin typeface="+mn-lt"/>
                <a:sym typeface="Wingdings 2"/>
              </a:rPr>
              <a:t>90</a:t>
            </a:r>
            <a:r>
              <a:rPr lang="ru-RU" b="0" dirty="0">
                <a:latin typeface="+mn-lt"/>
                <a:sym typeface="Calibri"/>
              </a:rPr>
              <a:t> 1/</a:t>
            </a:r>
            <a:r>
              <a:rPr lang="en-US" b="0" dirty="0">
                <a:latin typeface="+mn-lt"/>
                <a:sym typeface="Calibri"/>
              </a:rPr>
              <a:t>8</a:t>
            </a:r>
            <a:r>
              <a:rPr lang="ru-RU" b="0" dirty="0">
                <a:latin typeface="+mn-lt"/>
                <a:sym typeface="Calibri"/>
              </a:rPr>
              <a:t> (</a:t>
            </a:r>
            <a:r>
              <a:rPr lang="ru-RU" b="0" dirty="0">
                <a:latin typeface="+mn-lt"/>
              </a:rPr>
              <a:t>220х290 мм)</a:t>
            </a:r>
            <a:r>
              <a:rPr lang="ru-RU" b="0" dirty="0">
                <a:latin typeface="+mn-lt"/>
                <a:sym typeface="Calibri"/>
              </a:rPr>
              <a:t>, </a:t>
            </a:r>
          </a:p>
          <a:p>
            <a:r>
              <a:rPr lang="ru-RU" b="0" dirty="0">
                <a:latin typeface="+mn-lt"/>
                <a:sym typeface="Calibri"/>
              </a:rPr>
              <a:t>1</a:t>
            </a:r>
            <a:r>
              <a:rPr lang="en-US" b="0" dirty="0">
                <a:latin typeface="+mn-lt"/>
                <a:sym typeface="Calibri"/>
              </a:rPr>
              <a:t>6</a:t>
            </a:r>
            <a:r>
              <a:rPr lang="ru-RU" b="0" dirty="0">
                <a:latin typeface="+mn-lt"/>
                <a:sym typeface="Calibri"/>
              </a:rPr>
              <a:t>8</a:t>
            </a:r>
            <a:r>
              <a:rPr lang="en-US" b="0" dirty="0">
                <a:latin typeface="+mn-lt"/>
                <a:sym typeface="Calibri"/>
              </a:rPr>
              <a:t> </a:t>
            </a:r>
            <a:r>
              <a:rPr lang="ru-RU" b="0" dirty="0">
                <a:latin typeface="+mn-lt"/>
                <a:sym typeface="Calibri"/>
              </a:rPr>
              <a:t>стр., </a:t>
            </a:r>
            <a:r>
              <a:rPr lang="en-US" b="0" dirty="0">
                <a:latin typeface="+mn-lt"/>
                <a:sym typeface="Calibri"/>
              </a:rPr>
              <a:t>4</a:t>
            </a:r>
            <a:r>
              <a:rPr lang="ru-RU" b="0" dirty="0">
                <a:latin typeface="+mn-lt"/>
                <a:sym typeface="Calibri"/>
              </a:rPr>
              <a:t> краска.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860612" y="2745234"/>
            <a:ext cx="6096000" cy="122802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6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Стребелева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 Е. А., </a:t>
            </a:r>
          </a:p>
          <a:p>
            <a:pPr>
              <a:lnSpc>
                <a:spcPct val="80000"/>
              </a:lnSpc>
            </a:pP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Лазуренко С.Б. , </a:t>
            </a:r>
            <a:r>
              <a:rPr lang="ru-RU" sz="16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Закрепина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 А.В. </a:t>
            </a:r>
          </a:p>
          <a:p>
            <a:pPr>
              <a:lnSpc>
                <a:spcPct val="80000"/>
              </a:lnSpc>
            </a:pPr>
            <a:endParaRPr lang="ru-RU" sz="16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  <a:sym typeface="Calibri"/>
            </a:endParaRPr>
          </a:p>
          <a:p>
            <a:pPr>
              <a:lnSpc>
                <a:spcPct val="80000"/>
              </a:lnSpc>
            </a:pP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Диагностика познавательного развития. 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/>
            </a:r>
            <a:b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</a:b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Комплект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материалов для обследования детей </a:t>
            </a: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/>
            </a:r>
            <a:b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</a:br>
            <a:r>
              <a:rPr lang="ru-RU" sz="16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в </a:t>
            </a: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  <a:sym typeface="Calibri"/>
              </a:rPr>
              <a:t>возрасте от 6 месяцев до 10 лет. (Коробка)</a:t>
            </a:r>
          </a:p>
        </p:txBody>
      </p:sp>
    </p:spTree>
    <p:extLst>
      <p:ext uri="{BB962C8B-B14F-4D97-AF65-F5344CB8AC3E}">
        <p14:creationId xmlns:p14="http://schemas.microsoft.com/office/powerpoint/2010/main" val="295847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2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34238" y="383383"/>
            <a:ext cx="11322947" cy="11893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РИГИНАЛЬНЫЙ СПОСОБ СКРИНИНГ-ДИАГНОСТИКИ познавательного </a:t>
            </a:r>
            <a:r>
              <a:rPr lang="ru-RU" dirty="0"/>
              <a:t>развития детей </a:t>
            </a:r>
            <a:r>
              <a:rPr lang="ru-RU" dirty="0"/>
              <a:t>в </a:t>
            </a:r>
            <a:r>
              <a:rPr lang="ru-RU" dirty="0"/>
              <a:t>возрасте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от </a:t>
            </a:r>
            <a:r>
              <a:rPr lang="ru-RU" dirty="0"/>
              <a:t>6 месяцев до 10 </a:t>
            </a:r>
            <a:r>
              <a:rPr lang="ru-RU" dirty="0"/>
              <a:t>лет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658407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5343526" y="1916113"/>
            <a:ext cx="6332538" cy="214674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В каждом возрастном периоде ребёнок должен овладеть определённым способом познания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ри планировании воспитания и обучения необходимо учитывать актуальный способ познания, сформированный у ребёнк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Если способ познания не соответствует возрастному нормативу, это свидетельствует о необходимости специальной педагогической помощи и коррекции содержания обучения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5343526" y="4668039"/>
            <a:ext cx="6433986" cy="17955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lvl="0">
              <a:spcBef>
                <a:spcPct val="0"/>
              </a:spcBef>
              <a:defRPr sz="1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1800" b="1" dirty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обследования по </a:t>
            </a:r>
            <a:r>
              <a:rPr lang="ru-RU" sz="1800" b="1" dirty="0" smtClean="0">
                <a:solidFill>
                  <a:schemeClr val="tx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методике позволяют: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явить основные проблемы в познавательном развитии ребёнка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пределить необходимые виды и объём психолого-педагогической помощи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66" r="10468"/>
          <a:stretch/>
        </p:blipFill>
        <p:spPr>
          <a:xfrm>
            <a:off x="0" y="1829857"/>
            <a:ext cx="4758125" cy="4847167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08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4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296581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 smtClean="0"/>
              <a:t>Комплект диагностических материалов </a:t>
            </a:r>
            <a:br>
              <a:rPr lang="ru-RU" dirty="0" smtClean="0"/>
            </a:br>
            <a:r>
              <a:rPr lang="ru-RU" dirty="0" smtClean="0"/>
              <a:t>будет полезен: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529192" y="1665288"/>
            <a:ext cx="7258639" cy="23391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едагогам-дефектологам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Детским психологам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едиатрам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Неврологам</a:t>
            </a:r>
          </a:p>
          <a:p>
            <a:endParaRPr lang="ru-RU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/>
              <a:t>А </a:t>
            </a:r>
            <a:r>
              <a:rPr lang="ru-RU" sz="1400" dirty="0"/>
              <a:t>также всем, перед кем стоит задача оценить соответствие уровня познавательного развития ребёнка возрастному нормативу и осуществлять мониторинг этого показателя на регулярной основе.</a:t>
            </a:r>
          </a:p>
        </p:txBody>
      </p:sp>
      <p:sp>
        <p:nvSpPr>
          <p:cNvPr id="17" name="Пятиугольник 16"/>
          <p:cNvSpPr/>
          <p:nvPr/>
        </p:nvSpPr>
        <p:spPr>
          <a:xfrm>
            <a:off x="576954" y="4409209"/>
            <a:ext cx="7116763" cy="1447800"/>
          </a:xfrm>
          <a:custGeom>
            <a:avLst/>
            <a:gdLst>
              <a:gd name="connsiteX0" fmla="*/ 0 w 7572376"/>
              <a:gd name="connsiteY0" fmla="*/ 0 h 1475109"/>
              <a:gd name="connsiteX1" fmla="*/ 6834822 w 7572376"/>
              <a:gd name="connsiteY1" fmla="*/ 0 h 1475109"/>
              <a:gd name="connsiteX2" fmla="*/ 7572376 w 7572376"/>
              <a:gd name="connsiteY2" fmla="*/ 737555 h 1475109"/>
              <a:gd name="connsiteX3" fmla="*/ 6834822 w 7572376"/>
              <a:gd name="connsiteY3" fmla="*/ 1475109 h 1475109"/>
              <a:gd name="connsiteX4" fmla="*/ 0 w 7572376"/>
              <a:gd name="connsiteY4" fmla="*/ 1475109 h 1475109"/>
              <a:gd name="connsiteX5" fmla="*/ 0 w 7572376"/>
              <a:gd name="connsiteY5" fmla="*/ 0 h 1475109"/>
              <a:gd name="connsiteX0" fmla="*/ 0 w 7667626"/>
              <a:gd name="connsiteY0" fmla="*/ 0 h 1475109"/>
              <a:gd name="connsiteX1" fmla="*/ 6834822 w 7667626"/>
              <a:gd name="connsiteY1" fmla="*/ 0 h 1475109"/>
              <a:gd name="connsiteX2" fmla="*/ 7667626 w 7667626"/>
              <a:gd name="connsiteY2" fmla="*/ 737555 h 1475109"/>
              <a:gd name="connsiteX3" fmla="*/ 6834822 w 7667626"/>
              <a:gd name="connsiteY3" fmla="*/ 1475109 h 1475109"/>
              <a:gd name="connsiteX4" fmla="*/ 0 w 7667626"/>
              <a:gd name="connsiteY4" fmla="*/ 1475109 h 1475109"/>
              <a:gd name="connsiteX5" fmla="*/ 0 w 7667626"/>
              <a:gd name="connsiteY5" fmla="*/ 0 h 14751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67626" h="1475109">
                <a:moveTo>
                  <a:pt x="0" y="0"/>
                </a:moveTo>
                <a:lnTo>
                  <a:pt x="6834822" y="0"/>
                </a:lnTo>
                <a:lnTo>
                  <a:pt x="7667626" y="737555"/>
                </a:lnTo>
                <a:lnTo>
                  <a:pt x="6834822" y="1475109"/>
                </a:lnTo>
                <a:lnTo>
                  <a:pt x="0" y="1475109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етодика разработана на основе </a:t>
            </a:r>
            <a: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ноголетних </a:t>
            </a:r>
            <a:r>
              <a:rPr lang="ru-RU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учно-экспериментальных исследований </a:t>
            </a:r>
            <a: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/>
            </a:r>
            <a:b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ru-RU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оказала свою эффективность в ходе длительной апробации.</a:t>
            </a:r>
          </a:p>
        </p:txBody>
      </p:sp>
      <p:pic>
        <p:nvPicPr>
          <p:cNvPr id="18" name="Picture 9" descr="C:\Users\igornostaev\Desktop\коробока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16" r="4870" b="3901"/>
          <a:stretch/>
        </p:blipFill>
        <p:spPr bwMode="auto">
          <a:xfrm rot="162316">
            <a:off x="7882465" y="2156527"/>
            <a:ext cx="3832215" cy="4100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123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7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6954" y="440230"/>
            <a:ext cx="11322947" cy="400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 smtClean="0"/>
              <a:t>Авторский коллектив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7670602" y="1491503"/>
            <a:ext cx="3609975" cy="5232026"/>
          </a:xfrm>
          <a:prstGeom prst="rect">
            <a:avLst/>
          </a:prstGeom>
          <a:solidFill>
            <a:srgbClr val="F25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4060627" y="1491503"/>
            <a:ext cx="3609975" cy="52320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450652" y="1491503"/>
            <a:ext cx="3609975" cy="523202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8247705" y="3922350"/>
            <a:ext cx="287655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3366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акрепина</a:t>
            </a:r>
            <a:r>
              <a:rPr lang="ru-RU" sz="1400" b="1" dirty="0">
                <a:solidFill>
                  <a:srgbClr val="003366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Алла Васильевна,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доцент, член-корреспондент РАО, заведующий лабораторией психолого-педагогических исследований и технологий специального образования лиц с интеллектуальными нарушениями Института коррекционной педагогики РАО.</a:t>
            </a:r>
          </a:p>
        </p:txBody>
      </p:sp>
      <p:pic>
        <p:nvPicPr>
          <p:cNvPr id="26" name="Picture 2" descr="https://ikprao.ru/assets/images/photoarc/preresized/1541063122176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8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869004" y="3922350"/>
            <a:ext cx="274002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003366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требелева</a:t>
            </a:r>
            <a:r>
              <a:rPr lang="ru-RU" sz="1400" b="1" dirty="0">
                <a:solidFill>
                  <a:srgbClr val="003366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лена Антоновна,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профессор, лауреат премии Президента РФ, главный научный сотрудник Института коррекционной педагогики РАО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361505" y="3922350"/>
            <a:ext cx="2994212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3366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азуренко Светлана Борисовна,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доктор педагогических наук, профессор, член-корреспондент РАО, руководитель центра психолого-педагогической помощи в педиатрии ФГАУ «Национальный медицинский исследовательский центр здоровья детей» МЗ РФ, главный научный сотрудник Института коррекционной педагогики РАО</a:t>
            </a:r>
          </a:p>
        </p:txBody>
      </p:sp>
      <p:pic>
        <p:nvPicPr>
          <p:cNvPr id="29" name="Picture 4" descr="https://ikprao.ru/assets/images/photoarc/640x360/154072599543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53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https://ikprao.ru/assets/images/photoarc/preresized/1540725603449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0539" y="1550926"/>
            <a:ext cx="2247902" cy="2247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3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9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93879" y="495624"/>
            <a:ext cx="11322947" cy="4008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 smtClean="0"/>
              <a:t>Состав комплекта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C:\Users\igornostaev\Desktop\Стребелева\methodic_Cover_cc201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0395" y="1899390"/>
            <a:ext cx="1654811" cy="2254592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C:\Users\igornostaev\Desktop\Стребелева\papka 1_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7117085" y="1562282"/>
            <a:ext cx="1430368" cy="188621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2" name="Picture 3" descr="C:\Users\igornostaev\Desktop\Стребелева\papka 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9023246" y="1532861"/>
            <a:ext cx="1420095" cy="188299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3" name="Picture 4" descr="C:\Users\igornostaev\Desktop\Стребелева\papka 7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5387067" y="1564338"/>
            <a:ext cx="1420095" cy="189297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4" name="Picture 5" descr="C:\Users\igornostaev\Desktop\Стребелева\papka 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6258905" y="2831158"/>
            <a:ext cx="1423617" cy="188445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5" name="Picture 6" descr="C:\Users\igornostaev\Desktop\Стребелева\papka 9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8126482" y="2817888"/>
            <a:ext cx="1420095" cy="187946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6" name="Picture 7" descr="C:\Users\igornostaev\Desktop\Стребелева\papka 1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4430928" y="2772900"/>
            <a:ext cx="1383698" cy="188622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pic>
        <p:nvPicPr>
          <p:cNvPr id="37" name="Picture 8" descr="C:\Users\igornostaev\Desktop\Стребелева\papka 11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69608">
            <a:off x="9977390" y="2832955"/>
            <a:ext cx="1416280" cy="187741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  <a:extLst/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412442"/>
              </p:ext>
            </p:extLst>
          </p:nvPr>
        </p:nvGraphicFramePr>
        <p:xfrm>
          <a:off x="377226" y="4222778"/>
          <a:ext cx="3389811" cy="2279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898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96556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Методическое</a:t>
                      </a:r>
                      <a:r>
                        <a:rPr lang="ru-RU" sz="1600" baseline="0" dirty="0" smtClean="0"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пособие</a:t>
                      </a:r>
                      <a:endParaRPr lang="ru-RU" sz="1600" dirty="0"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83066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Теоретическое обоснование методики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Пошаговое описание процедуры обследования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Образец заполнения бланка обследования</a:t>
                      </a:r>
                      <a:endParaRPr lang="ru-RU" sz="1600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8104559"/>
              </p:ext>
            </p:extLst>
          </p:nvPr>
        </p:nvGraphicFramePr>
        <p:xfrm>
          <a:off x="4339771" y="4222778"/>
          <a:ext cx="7250467" cy="231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0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41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53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5536">
                <a:tc gridSpan="3"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11 наборов в 7 папках для обследования познавательного развития детей с 1-го по 11-ый год жизни включительно</a:t>
                      </a:r>
                      <a:endParaRPr lang="ru-RU" sz="1600" dirty="0"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28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Таблица заданий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идактические материалы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285">
                <a:tc rowSpan="3"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раткое изложение диагностической процедуры</a:t>
                      </a:r>
                      <a:endParaRPr lang="ru-RU" sz="1600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Плотные разрезные листы с заданиями </a:t>
                      </a:r>
                      <a:endParaRPr lang="ru-RU" sz="1600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285">
                <a:tc v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ля детей</a:t>
                      </a:r>
                      <a:endParaRPr lang="ru-RU" sz="1600" b="1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Для специалиста</a:t>
                      </a:r>
                      <a:endParaRPr lang="ru-RU" sz="1600" b="1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2710">
                <a:tc vMerge="1">
                  <a:txBody>
                    <a:bodyPr/>
                    <a:lstStyle/>
                    <a:p>
                      <a:endParaRPr lang="ru-RU" sz="1400" dirty="0">
                        <a:latin typeface="Open Sans Light" panose="020B0306030504020204" pitchFamily="34" charset="0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арточки-задания для ребёнка</a:t>
                      </a:r>
                      <a:endParaRPr lang="ru-RU" sz="1600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rgbClr val="003366"/>
                          </a:solidFill>
                          <a:latin typeface="+mn-lt"/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Карточки с текстами, которые специалист зачитывает ребёнку вслух</a:t>
                      </a:r>
                      <a:endParaRPr lang="ru-RU" sz="1600" dirty="0">
                        <a:solidFill>
                          <a:srgbClr val="003366"/>
                        </a:solidFill>
                        <a:latin typeface="+mn-lt"/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Номер слайда 6"/>
          <p:cNvSpPr>
            <a:spLocks noGrp="1"/>
          </p:cNvSpPr>
          <p:nvPr>
            <p:ph type="sldNum" sz="quarter" idx="4294967295"/>
          </p:nvPr>
        </p:nvSpPr>
        <p:spPr>
          <a:xfrm>
            <a:off x="11418339" y="6408328"/>
            <a:ext cx="164194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dirty="0" smtClean="0"/>
              <a:t>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707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77</TotalTime>
  <Words>470</Words>
  <Application>Microsoft Office PowerPoint</Application>
  <PresentationFormat>Широкоэкранный</PresentationFormat>
  <Paragraphs>65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Open Sans</vt:lpstr>
      <vt:lpstr>Open Sans Light</vt:lpstr>
      <vt:lpstr>Wingdings</vt:lpstr>
      <vt:lpstr>Wingdings 2</vt:lpstr>
      <vt:lpstr>Тема Office</vt:lpstr>
      <vt:lpstr>5_Тема Office</vt:lpstr>
      <vt:lpstr>Слайд think-cell</vt:lpstr>
      <vt:lpstr>НОВИНКИ ИЮЛЯ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Копьева Наталья Владимировна</cp:lastModifiedBy>
  <cp:revision>1164</cp:revision>
  <cp:lastPrinted>2021-03-09T13:01:30Z</cp:lastPrinted>
  <dcterms:created xsi:type="dcterms:W3CDTF">2018-07-24T05:59:49Z</dcterms:created>
  <dcterms:modified xsi:type="dcterms:W3CDTF">2021-06-24T06:19:03Z</dcterms:modified>
</cp:coreProperties>
</file>